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charts/chart1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charts/chart2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59" r:id="rId3"/>
    <p:sldId id="260" r:id="rId4"/>
  </p:sldIdLst>
  <p:sldSz cx="12192000" cy="6858000"/>
  <p:notesSz cx="6858000" cy="9144000"/>
  <p:custDataLst>
    <p:tags r:id="rId5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AD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407367859049655E-3"/>
          <c:y val="1.6855753646677473E-2"/>
          <c:w val="0.98611852642819009"/>
          <c:h val="0.9662884927066450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129411765</c:v>
                </c:pt>
                <c:pt idx="1">
                  <c:v>102500000</c:v>
                </c:pt>
                <c:pt idx="2">
                  <c:v>119230769</c:v>
                </c:pt>
                <c:pt idx="3">
                  <c:v>122000000</c:v>
                </c:pt>
                <c:pt idx="4">
                  <c:v>127000000</c:v>
                </c:pt>
                <c:pt idx="5">
                  <c:v>130526316</c:v>
                </c:pt>
                <c:pt idx="6">
                  <c:v>138387097</c:v>
                </c:pt>
                <c:pt idx="7">
                  <c:v>125769231</c:v>
                </c:pt>
                <c:pt idx="8">
                  <c:v>117500000</c:v>
                </c:pt>
                <c:pt idx="9">
                  <c:v>130789474</c:v>
                </c:pt>
                <c:pt idx="10">
                  <c:v>138888889</c:v>
                </c:pt>
                <c:pt idx="11">
                  <c:v>14166666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94980048"/>
        <c:axId val="1494987664"/>
      </c:barChart>
      <c:catAx>
        <c:axId val="14949800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494987664"/>
        <c:crosses val="min"/>
        <c:auto val="0"/>
        <c:lblAlgn val="ctr"/>
        <c:lblOffset val="100"/>
        <c:noMultiLvlLbl val="0"/>
      </c:catAx>
      <c:valAx>
        <c:axId val="1494987664"/>
        <c:scaling>
          <c:orientation val="minMax"/>
          <c:max val="141666667"/>
          <c:min val="80000000"/>
        </c:scaling>
        <c:delete val="1"/>
        <c:axPos val="l"/>
        <c:numFmt formatCode="General" sourceLinked="1"/>
        <c:majorTickMark val="out"/>
        <c:minorTickMark val="none"/>
        <c:tickLblPos val="nextTo"/>
        <c:crossAx val="14949800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6915454896409729E-3"/>
          <c:y val="7.919930374238468E-2"/>
          <c:w val="0.98661690902071808"/>
          <c:h val="0.8648099796924861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015085581665215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0.2666086451987235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0.2666086451987235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-0.2932985204525674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-0.4287786480997969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"/>
                  <c:y val="-0.3475485929794023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6"/>
              <c:layout>
                <c:manualLayout>
                  <c:x val="0"/>
                  <c:y val="-0.4557586306933565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7"/>
              <c:layout>
                <c:manualLayout>
                  <c:x val="0"/>
                  <c:y val="-0.3745285755729619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8"/>
              <c:layout>
                <c:manualLayout>
                  <c:x val="0"/>
                  <c:y val="-0.2666086451987235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9"/>
              <c:layout>
                <c:manualLayout>
                  <c:x val="0"/>
                  <c:y val="-0.3745285755729619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0"/>
              <c:layout>
                <c:manualLayout>
                  <c:x val="0"/>
                  <c:y val="-0.4015085581665215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1"/>
              <c:layout>
                <c:manualLayout>
                  <c:x val="0"/>
                  <c:y val="-0.3745285755729619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180</c:v>
                </c:pt>
                <c:pt idx="1">
                  <c:v>130</c:v>
                </c:pt>
                <c:pt idx="2">
                  <c:v>130</c:v>
                </c:pt>
                <c:pt idx="3">
                  <c:v>140</c:v>
                </c:pt>
                <c:pt idx="4">
                  <c:v>190</c:v>
                </c:pt>
                <c:pt idx="5">
                  <c:v>160</c:v>
                </c:pt>
                <c:pt idx="6">
                  <c:v>200</c:v>
                </c:pt>
                <c:pt idx="7">
                  <c:v>170</c:v>
                </c:pt>
                <c:pt idx="8">
                  <c:v>130</c:v>
                </c:pt>
                <c:pt idx="9">
                  <c:v>170</c:v>
                </c:pt>
                <c:pt idx="10">
                  <c:v>180</c:v>
                </c:pt>
                <c:pt idx="11">
                  <c:v>17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94985488"/>
        <c:axId val="1494986032"/>
      </c:barChart>
      <c:catAx>
        <c:axId val="14949854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494986032"/>
        <c:crosses val="min"/>
        <c:auto val="0"/>
        <c:lblAlgn val="ctr"/>
        <c:lblOffset val="100"/>
        <c:noMultiLvlLbl val="0"/>
      </c:catAx>
      <c:valAx>
        <c:axId val="1494986032"/>
        <c:scaling>
          <c:orientation val="minMax"/>
          <c:max val="200"/>
          <c:min val="40"/>
        </c:scaling>
        <c:delete val="1"/>
        <c:axPos val="l"/>
        <c:numFmt formatCode="General" sourceLinked="1"/>
        <c:majorTickMark val="out"/>
        <c:minorTickMark val="none"/>
        <c:tickLblPos val="nextTo"/>
        <c:crossAx val="14949854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376122900663973E-2"/>
          <c:y val="8.4848484848484854E-2"/>
          <c:w val="0.93724775419867201"/>
          <c:h val="0.82279942279942275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-2.914862914862914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2.914862914862914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2.914862914862914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C$1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</c:numRef>
          </c:xVal>
          <c:yVal>
            <c:numRef>
              <c:f>Sheet1!$A$2:$C$2</c:f>
              <c:numCache>
                <c:formatCode>General</c:formatCode>
                <c:ptCount val="3"/>
                <c:pt idx="0">
                  <c:v>110</c:v>
                </c:pt>
                <c:pt idx="1">
                  <c:v>126</c:v>
                </c:pt>
                <c:pt idx="2">
                  <c:v>161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91364608"/>
        <c:axId val="1491366784"/>
      </c:scatterChart>
      <c:valAx>
        <c:axId val="1491364608"/>
        <c:scaling>
          <c:orientation val="minMax"/>
          <c:max val="2024"/>
          <c:min val="2022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491366784"/>
        <c:crosses val="min"/>
        <c:crossBetween val="midCat"/>
        <c:majorUnit val="1"/>
      </c:valAx>
      <c:valAx>
        <c:axId val="1491366784"/>
        <c:scaling>
          <c:orientation val="minMax"/>
          <c:max val="161"/>
          <c:min val="60"/>
        </c:scaling>
        <c:delete val="1"/>
        <c:axPos val="l"/>
        <c:numFmt formatCode="General" sourceLinked="1"/>
        <c:majorTickMark val="out"/>
        <c:minorTickMark val="none"/>
        <c:tickLblPos val="nextTo"/>
        <c:crossAx val="1491364608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03/09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27981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03/09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200963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03/09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59010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03/09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19609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03/09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398556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03/09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386294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03/09/2024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98709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03/09/2024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26618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03/09/2024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007317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03/09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341888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5EC5E6-1DB1-4627-90A1-30D8C8211A9A}" type="datetimeFigureOut">
              <a:rPr lang="pt-BR" smtClean="0"/>
              <a:t>03/09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284602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93598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5EC5E6-1DB1-4627-90A1-30D8C8211A9A}" type="datetimeFigureOut">
              <a:rPr lang="pt-BR" smtClean="0"/>
              <a:t>03/09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4F1D4E-C235-4601-9033-292CB8A598B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67267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34" Type="http://schemas.openxmlformats.org/officeDocument/2006/relationships/image" Target="../media/image1.emf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oleObject" Target="../embeddings/oleObject2.bin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tags" Target="../tags/tag30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slideLayout" Target="../slideLayouts/slideLayout7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chart" Target="../charts/chart1.xml"/><Relationship Id="rId8" Type="http://schemas.openxmlformats.org/officeDocument/2006/relationships/tags" Target="../tags/tag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3" Type="http://schemas.openxmlformats.org/officeDocument/2006/relationships/tags" Target="../tags/tag34.xml"/><Relationship Id="rId21" Type="http://schemas.openxmlformats.org/officeDocument/2006/relationships/oleObject" Target="../embeddings/oleObject3.bin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" Type="http://schemas.openxmlformats.org/officeDocument/2006/relationships/tags" Target="../tags/tag33.xml"/><Relationship Id="rId16" Type="http://schemas.openxmlformats.org/officeDocument/2006/relationships/tags" Target="../tags/tag47.xml"/><Relationship Id="rId20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5" Type="http://schemas.openxmlformats.org/officeDocument/2006/relationships/tags" Target="../tags/tag46.xml"/><Relationship Id="rId23" Type="http://schemas.openxmlformats.org/officeDocument/2006/relationships/chart" Target="../charts/chart2.xml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.vml"/><Relationship Id="rId6" Type="http://schemas.openxmlformats.org/officeDocument/2006/relationships/tags" Target="../tags/tag55.xml"/><Relationship Id="rId11" Type="http://schemas.openxmlformats.org/officeDocument/2006/relationships/chart" Target="../charts/chart3.xml"/><Relationship Id="rId5" Type="http://schemas.openxmlformats.org/officeDocument/2006/relationships/tags" Target="../tags/tag54.xml"/><Relationship Id="rId10" Type="http://schemas.openxmlformats.org/officeDocument/2006/relationships/image" Target="../media/image1.emf"/><Relationship Id="rId4" Type="http://schemas.openxmlformats.org/officeDocument/2006/relationships/tags" Target="../tags/tag53.xml"/><Relationship Id="rId9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6000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33" imgW="425" imgH="424" progId="TCLayout.ActiveDocument.1">
                  <p:embed/>
                </p:oleObj>
              </mc:Choice>
              <mc:Fallback>
                <p:oleObj name="think-cell Slide" r:id="rId3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7" name="Chart 56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11940107"/>
              </p:ext>
            </p:extLst>
          </p:nvPr>
        </p:nvGraphicFramePr>
        <p:xfrm>
          <a:off x="103188" y="1235075"/>
          <a:ext cx="11893550" cy="4897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cxnSp>
        <p:nvCxnSpPr>
          <p:cNvPr id="4" name="Straight Connector 3"/>
          <p:cNvCxnSpPr/>
          <p:nvPr>
            <p:custDataLst>
              <p:tags r:id="rId4"/>
            </p:custDataLst>
          </p:nvPr>
        </p:nvCxnSpPr>
        <p:spPr bwMode="auto">
          <a:xfrm flipV="1">
            <a:off x="6537325" y="1238250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>
            <p:custDataLst>
              <p:tags r:id="rId5"/>
            </p:custDataLst>
          </p:nvPr>
        </p:nvCxnSpPr>
        <p:spPr bwMode="auto">
          <a:xfrm>
            <a:off x="6537325" y="1238250"/>
            <a:ext cx="19542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>
            <p:custDataLst>
              <p:tags r:id="rId6"/>
            </p:custDataLst>
          </p:nvPr>
        </p:nvCxnSpPr>
        <p:spPr bwMode="auto">
          <a:xfrm>
            <a:off x="8491538" y="1238249"/>
            <a:ext cx="0" cy="16779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07988" y="6108700"/>
            <a:ext cx="531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EBB2EFE-5C25-498A-801F-FE2186782CBD}" type="datetime'J''a''n''''''''e''''''i''''''''''''''''''r''''''o'''''''''">
              <a:rPr lang="pt-BR" altLang="en-US" sz="1400" smtClean="0"/>
              <a:pPr/>
              <a:t>Janeiro</a:t>
            </a:fld>
            <a:endParaRPr lang="pt-BR" sz="1400" dirty="0"/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306513" y="6108700"/>
            <a:ext cx="688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FC34F0-47EF-40C4-A703-62DFD3D38D4B}" type="datetime'F''''ev''''''''''''''''er''''''''''''''''e''''i''''''r''''o'">
              <a:rPr lang="pt-BR" altLang="en-US" sz="1400" smtClean="0"/>
              <a:pPr/>
              <a:t>Fevereiro</a:t>
            </a:fld>
            <a:endParaRPr lang="pt-BR" sz="1400" dirty="0"/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389188" y="6108700"/>
            <a:ext cx="4762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7179B22-0D19-4CF5-A71C-196E42199CB6}" type="datetime'''''''M''''''''''''''a''''r''''''''''''''''''ço'''''''''''">
              <a:rPr lang="pt-BR" altLang="en-US" sz="1400" smtClean="0"/>
              <a:pPr/>
              <a:t>Março</a:t>
            </a:fld>
            <a:endParaRPr lang="pt-BR" sz="1400" dirty="0"/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429000" y="6108700"/>
            <a:ext cx="354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0370C6D-EEF9-4055-9777-07BCF1E8487B}" type="datetime'''''''''A''''b''''''''''''''''r''''i''l'''''''''''">
              <a:rPr lang="pt-BR" altLang="en-US" sz="1400" smtClean="0"/>
              <a:pPr/>
              <a:t>Abril</a:t>
            </a:fld>
            <a:endParaRPr lang="pt-BR" sz="1400" dirty="0"/>
          </a:p>
        </p:txBody>
      </p:sp>
      <p:sp>
        <p:nvSpPr>
          <p:cNvPr id="152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391025" y="6108700"/>
            <a:ext cx="3857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049858-7ED9-490C-8E47-3100510EA09B}" type="datetime'''''''''''''''''''''''''''Ma''''i''''''o'''''''''''''">
              <a:rPr lang="pt-BR" altLang="en-US" sz="1400" smtClean="0"/>
              <a:pPr/>
              <a:t>Maio</a:t>
            </a:fld>
            <a:endParaRPr lang="pt-BR" sz="1400" dirty="0"/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337175" y="6108700"/>
            <a:ext cx="444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E6BAA85-6EAF-4C6E-A9BF-E71839C08D1A}" type="datetime'''''''J''u''''''''''''''''''n''''h''''''''''''''''''''o'''">
              <a:rPr lang="pt-BR" altLang="en-US" sz="1400" smtClean="0"/>
              <a:pPr/>
              <a:t>Junho</a:t>
            </a:fld>
            <a:endParaRPr lang="pt-BR" sz="1400" dirty="0"/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342063" y="6108700"/>
            <a:ext cx="3921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8CF42C0-A3F7-4473-B2F4-268AD7A61FC8}" type="datetime'Ju''''''''''''''lh''''''''''''''o'''''''''''''''">
              <a:rPr lang="pt-BR" altLang="en-US" sz="1400" smtClean="0"/>
              <a:pPr/>
              <a:t>Julho</a:t>
            </a:fld>
            <a:endParaRPr lang="pt-BR" sz="1400" dirty="0"/>
          </a:p>
        </p:txBody>
      </p:sp>
      <p:sp>
        <p:nvSpPr>
          <p:cNvPr id="15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259638" y="6108700"/>
            <a:ext cx="5127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748FBCC-1F22-4C5B-AFE7-2712F4C20DB1}" type="datetime'A''g''''''o''''''''''''''''''s''''''''''t''o'''''''''">
              <a:rPr lang="pt-BR" altLang="en-US" sz="1400" smtClean="0"/>
              <a:pPr/>
              <a:t>Agosto</a:t>
            </a:fld>
            <a:endParaRPr lang="pt-BR" sz="1400" dirty="0"/>
          </a:p>
        </p:txBody>
      </p:sp>
      <p:sp>
        <p:nvSpPr>
          <p:cNvPr id="156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134350" y="6108700"/>
            <a:ext cx="7159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B4F4F2-B332-4309-99C5-347826923E53}" type="datetime'''''''''S''''''''''''''''''''''e''t''''e''mbro'''">
              <a:rPr lang="pt-BR" altLang="en-US" sz="1400" smtClean="0"/>
              <a:pPr/>
              <a:t>Setembro</a:t>
            </a:fld>
            <a:endParaRPr lang="pt-BR" sz="1400" dirty="0"/>
          </a:p>
        </p:txBody>
      </p:sp>
      <p:sp>
        <p:nvSpPr>
          <p:cNvPr id="157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158288" y="6108700"/>
            <a:ext cx="6238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38D1FC9-0253-4F5A-B25C-3D1A174E0B0B}" type="datetime'''''''''''''''O''utu''''''''''b''''''''''''''''''r''''o'''">
              <a:rPr lang="pt-BR" altLang="en-US" sz="1400" smtClean="0"/>
              <a:pPr/>
              <a:t>Outubro</a:t>
            </a:fld>
            <a:endParaRPr lang="pt-BR" sz="1400" dirty="0"/>
          </a:p>
        </p:txBody>
      </p:sp>
      <p:sp>
        <p:nvSpPr>
          <p:cNvPr id="158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059988" y="6108700"/>
            <a:ext cx="776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73852D-877B-4BEF-881C-CAFC6B7DF414}" type="datetime'''N''''o''''''''''''v''''''e''m''''b''''r''''o'''''''''''''''">
              <a:rPr lang="pt-BR" altLang="en-US" sz="1400" smtClean="0"/>
              <a:pPr/>
              <a:t>Novembro</a:t>
            </a:fld>
            <a:endParaRPr lang="pt-BR" sz="1400" dirty="0"/>
          </a:p>
        </p:txBody>
      </p:sp>
      <p:sp>
        <p:nvSpPr>
          <p:cNvPr id="15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047413" y="6108700"/>
            <a:ext cx="7524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AA2DC90-262B-45A2-93A8-331185929421}" type="datetime'''D''''''''''''e''''''''ze''''m''''''''''''''b''''''r''''o'">
              <a:rPr lang="pt-BR" altLang="en-US" sz="1400" smtClean="0"/>
              <a:pPr/>
              <a:t>Dezembro</a:t>
            </a:fld>
            <a:endParaRPr lang="pt-BR" sz="1400" dirty="0"/>
          </a:p>
        </p:txBody>
      </p:sp>
      <p:sp>
        <p:nvSpPr>
          <p:cNvPr id="189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27038" y="2039938"/>
            <a:ext cx="493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377500C-F61F-493E-829C-ED96B223D086}" type="datetime'''''''''''1''''''''''''''2''''''''''''''''''''9,''''''4'''">
              <a:rPr lang="pt-BR" altLang="en-US" sz="1400" smtClean="0">
                <a:latin typeface="Montserrat" panose="020B0604020202020204" charset="0"/>
              </a:rPr>
              <a:pPr/>
              <a:t>129,4</a:t>
            </a:fld>
            <a:endParaRPr lang="pt-BR" sz="1400" dirty="0">
              <a:latin typeface="Montserrat" panose="020B0604020202020204" charset="0"/>
            </a:endParaRPr>
          </a:p>
        </p:txBody>
      </p:sp>
      <p:sp>
        <p:nvSpPr>
          <p:cNvPr id="193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422400" y="41052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9D3E84-150C-4FDD-8BC4-9D98A3CD6F7B}" type="datetime'''''''''''''''''''''''''''''''''''1''''''''''''''''02'''',5'">
              <a:rPr lang="pt-BR" altLang="en-US" sz="1400" smtClean="0"/>
              <a:pPr/>
              <a:t>102,5</a:t>
            </a:fld>
            <a:endParaRPr lang="pt-BR" sz="1400" dirty="0"/>
          </a:p>
        </p:txBody>
      </p:sp>
      <p:sp>
        <p:nvSpPr>
          <p:cNvPr id="194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398713" y="28225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E9F172E-486D-4ECE-8CDF-3B03EA593514}" type="datetime'''''''''''''11''''''9,''''''2'">
              <a:rPr lang="pt-BR" altLang="en-US" sz="1400" smtClean="0"/>
              <a:pPr/>
              <a:t>119,2</a:t>
            </a:fld>
            <a:endParaRPr lang="pt-BR" sz="1400" dirty="0"/>
          </a:p>
        </p:txBody>
      </p:sp>
      <p:sp>
        <p:nvSpPr>
          <p:cNvPr id="195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376613" y="260985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A8112A4-496A-49A1-ACC2-A348399EAFD7}" type="datetime'''''''''''1''''''''''2''2'''''''''''',''''''''''''''0'''">
              <a:rPr lang="pt-BR" altLang="en-US" sz="1400" smtClean="0"/>
              <a:pPr/>
              <a:t>122,0</a:t>
            </a:fld>
            <a:endParaRPr lang="pt-BR" sz="1400" dirty="0"/>
          </a:p>
        </p:txBody>
      </p:sp>
      <p:sp>
        <p:nvSpPr>
          <p:cNvPr id="196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354513" y="22256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FB2814F-C4A1-48CA-9FBB-CBBC5CCAF6C9}" type="datetime'''''1''''''2''''''''''''''''7'''''''''''',''''''0'''''''''''">
              <a:rPr lang="pt-BR" altLang="en-US" sz="1400" smtClean="0"/>
              <a:pPr/>
              <a:t>127,0</a:t>
            </a:fld>
            <a:endParaRPr lang="pt-BR" sz="1400" dirty="0"/>
          </a:p>
        </p:txBody>
      </p:sp>
      <p:sp>
        <p:nvSpPr>
          <p:cNvPr id="197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330825" y="195580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9A0A765-6398-4321-98BE-F3EEBFFDB951}" type="datetime'''''''''''''1''''''''''''''3''''''''''0'''',''''''''''''''''5'">
              <a:rPr lang="pt-BR" altLang="en-US" sz="1400" smtClean="0"/>
              <a:pPr/>
              <a:t>130,5</a:t>
            </a:fld>
            <a:endParaRPr lang="pt-BR" sz="1400" dirty="0"/>
          </a:p>
        </p:txBody>
      </p:sp>
      <p:sp>
        <p:nvSpPr>
          <p:cNvPr id="198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08725" y="135255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E5A7CA6-0CC3-47C8-A6E8-D3E8DBF1811B}" type="datetime'1''''''3''''''''''''''''''''''''''''8,''''''''''''''''4'''">
              <a:rPr lang="pt-BR" altLang="en-US" sz="1400" smtClean="0"/>
              <a:pPr/>
              <a:t>138,4</a:t>
            </a:fld>
            <a:endParaRPr lang="pt-BR" sz="1400" dirty="0"/>
          </a:p>
        </p:txBody>
      </p:sp>
      <p:sp>
        <p:nvSpPr>
          <p:cNvPr id="199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286625" y="231933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3B3ED33-9323-4675-A643-C0EF27452B0F}" type="datetime'1''''''''''''''''''''''''''''2''''''''5'''''''''''''',''8'">
              <a:rPr lang="pt-BR" altLang="en-US" sz="1400" smtClean="0"/>
              <a:pPr/>
              <a:t>125,8</a:t>
            </a:fld>
            <a:endParaRPr lang="pt-BR" sz="1400" dirty="0"/>
          </a:p>
        </p:txBody>
      </p:sp>
      <p:sp>
        <p:nvSpPr>
          <p:cNvPr id="200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8262938" y="295433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8E0D679-3A4E-460B-8680-00570948982E}" type="datetime'''1''''1''7'''',5'''''''''''''''''''">
              <a:rPr lang="pt-BR" altLang="en-US" sz="1400" smtClean="0"/>
              <a:pPr/>
              <a:t>117,5</a:t>
            </a:fld>
            <a:endParaRPr lang="pt-BR" sz="1400" dirty="0"/>
          </a:p>
        </p:txBody>
      </p:sp>
      <p:sp>
        <p:nvSpPr>
          <p:cNvPr id="201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9240838" y="193516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8A6FA7E-C917-41B3-993B-F41DDE54535E}" type="datetime'''''1''3''''''''''''0'',''''''''''''''''''''8'''''''''''''">
              <a:rPr lang="pt-BR" altLang="en-US" sz="1400" smtClean="0"/>
              <a:pPr/>
              <a:t>130,8</a:t>
            </a:fld>
            <a:endParaRPr lang="pt-BR" sz="1400" dirty="0"/>
          </a:p>
        </p:txBody>
      </p:sp>
      <p:sp>
        <p:nvSpPr>
          <p:cNvPr id="202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0218738" y="1312863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A39B063-4968-44EC-9AAD-7DC8DC130A46}" type="datetime'''''''''''''''''''''''''''''''''''''1''''38'',''''''''''''''9'">
              <a:rPr lang="pt-BR" altLang="en-US" sz="1400" smtClean="0"/>
              <a:pPr/>
              <a:t>138,9</a:t>
            </a:fld>
            <a:endParaRPr lang="pt-BR" sz="1400" dirty="0"/>
          </a:p>
        </p:txBody>
      </p:sp>
      <p:sp>
        <p:nvSpPr>
          <p:cNvPr id="203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1195050" y="110013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FEDC8CB-7922-483D-AA9E-19F44FDD9A0E}" type="datetime'''''''1''4''''''''1'''',''''''''''''''7'''''">
              <a:rPr lang="pt-BR" altLang="en-US" sz="1400" smtClean="0"/>
              <a:pPr/>
              <a:t>141,7</a:t>
            </a:fld>
            <a:endParaRPr lang="pt-BR" sz="1400" dirty="0"/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254875" y="1101725"/>
            <a:ext cx="517525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0BAD561-96EE-4350-941D-28EE6D1BB829}" type="datetime'''''-''''''''''''''''''''''''''''''''''''1''5''%'''">
              <a:rPr lang="pt-BR" altLang="en-US" sz="1400" b="1" smtClean="0"/>
              <a:pPr/>
              <a:t>-15%</a:t>
            </a:fld>
            <a:endParaRPr lang="pt-BR" sz="1400" b="1" dirty="0"/>
          </a:p>
        </p:txBody>
      </p:sp>
      <p:sp>
        <p:nvSpPr>
          <p:cNvPr id="235" name="Google Shape;194;p6"/>
          <p:cNvSpPr txBox="1"/>
          <p:nvPr/>
        </p:nvSpPr>
        <p:spPr>
          <a:xfrm>
            <a:off x="-1010" y="157290"/>
            <a:ext cx="11915919" cy="492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pt-BR" sz="2000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Pinha possuí os </a:t>
            </a:r>
            <a:r>
              <a:rPr lang="pt-BR" sz="2000" b="1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menores preços </a:t>
            </a:r>
            <a:r>
              <a:rPr lang="pt-BR" sz="2000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em </a:t>
            </a:r>
            <a:r>
              <a:rPr lang="pt-BR" sz="2000" b="1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Fevereiro</a:t>
            </a:r>
            <a:r>
              <a:rPr lang="pt-BR" sz="2000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 e </a:t>
            </a:r>
            <a:r>
              <a:rPr lang="pt-BR" sz="2000" b="1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Setembro</a:t>
            </a:r>
            <a:r>
              <a:rPr lang="pt-BR" sz="2000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, meses validados com fatores geográficos</a:t>
            </a:r>
            <a:endParaRPr sz="2000" i="0" u="none" strike="noStrike" cap="none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cxnSp>
        <p:nvCxnSpPr>
          <p:cNvPr id="236" name="Google Shape;195;p6"/>
          <p:cNvCxnSpPr/>
          <p:nvPr/>
        </p:nvCxnSpPr>
        <p:spPr>
          <a:xfrm>
            <a:off x="4762" y="717799"/>
            <a:ext cx="11752119" cy="0"/>
          </a:xfrm>
          <a:prstGeom prst="straightConnector1">
            <a:avLst/>
          </a:prstGeom>
          <a:noFill/>
          <a:ln w="38100" cap="flat" cmpd="sng">
            <a:solidFill>
              <a:srgbClr val="70AD47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7" name="Google Shape;197;p6"/>
          <p:cNvSpPr txBox="1"/>
          <p:nvPr/>
        </p:nvSpPr>
        <p:spPr>
          <a:xfrm>
            <a:off x="0" y="717799"/>
            <a:ext cx="10424964" cy="600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r>
              <a:rPr lang="pt-BR" sz="1600" b="1" i="0" u="none" strike="noStrike" cap="none" dirty="0" smtClean="0">
                <a:solidFill>
                  <a:srgbClr val="000000"/>
                </a:solidFill>
                <a:latin typeface="Hammersmith One"/>
                <a:ea typeface="Hammersmith One"/>
                <a:cs typeface="Hammersmith One"/>
                <a:sym typeface="Hammersmith One"/>
              </a:rPr>
              <a:t>Média dos preços por mês</a:t>
            </a:r>
            <a:endParaRPr sz="1600" b="1" i="0" u="none" strike="noStrike" cap="none" dirty="0">
              <a:solidFill>
                <a:srgbClr val="000000"/>
              </a:solidFill>
              <a:latin typeface="Hammersmith One"/>
              <a:ea typeface="Hammersmith One"/>
              <a:cs typeface="Hammersmith One"/>
              <a:sym typeface="Hammersmith One"/>
            </a:endParaRPr>
          </a:p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pt-BR" sz="1100" b="0" i="0" u="none" strike="noStrike" cap="none" dirty="0" smtClean="0">
                <a:solidFill>
                  <a:srgbClr val="666666"/>
                </a:solidFill>
                <a:latin typeface="Montserrat"/>
                <a:ea typeface="Montserrat"/>
                <a:cs typeface="Montserrat"/>
                <a:sym typeface="Montserrat"/>
              </a:rPr>
              <a:t>Em reais</a:t>
            </a:r>
          </a:p>
        </p:txBody>
      </p:sp>
      <p:sp>
        <p:nvSpPr>
          <p:cNvPr id="248" name="Google Shape;206;p7"/>
          <p:cNvSpPr txBox="1"/>
          <p:nvPr/>
        </p:nvSpPr>
        <p:spPr>
          <a:xfrm>
            <a:off x="40713" y="6311264"/>
            <a:ext cx="2358000" cy="33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000" b="0" i="0" u="none" strike="noStrike" cap="none" dirty="0">
                <a:solidFill>
                  <a:srgbClr val="666666"/>
                </a:solidFill>
                <a:latin typeface="Montserrat"/>
                <a:ea typeface="Montserrat"/>
                <a:cs typeface="Montserrat"/>
                <a:sym typeface="Montserrat"/>
              </a:rPr>
              <a:t>Fonte: </a:t>
            </a:r>
            <a:r>
              <a:rPr lang="pt-BR" sz="1000" dirty="0" smtClean="0">
                <a:solidFill>
                  <a:srgbClr val="666666"/>
                </a:solidFill>
                <a:latin typeface="Montserrat"/>
                <a:ea typeface="Montserrat"/>
                <a:cs typeface="Montserrat"/>
                <a:sym typeface="Montserrat"/>
              </a:rPr>
              <a:t>Seasa Bahia</a:t>
            </a:r>
          </a:p>
        </p:txBody>
      </p:sp>
    </p:spTree>
    <p:extLst>
      <p:ext uri="{BB962C8B-B14F-4D97-AF65-F5344CB8AC3E}">
        <p14:creationId xmlns:p14="http://schemas.microsoft.com/office/powerpoint/2010/main" val="2781202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890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21" imgW="425" imgH="424" progId="TCLayout.ActiveDocument.1">
                  <p:embed/>
                </p:oleObj>
              </mc:Choice>
              <mc:Fallback>
                <p:oleObj name="think-cell Slide" r:id="rId21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3" name="Chart 182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1906558"/>
              </p:ext>
            </p:extLst>
          </p:nvPr>
        </p:nvGraphicFramePr>
        <p:xfrm>
          <a:off x="-50800" y="884238"/>
          <a:ext cx="12336463" cy="5472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cxnSp>
        <p:nvCxnSpPr>
          <p:cNvPr id="31" name="Straight Connector 30"/>
          <p:cNvCxnSpPr/>
          <p:nvPr>
            <p:custDataLst>
              <p:tags r:id="rId4"/>
            </p:custDataLst>
          </p:nvPr>
        </p:nvCxnSpPr>
        <p:spPr bwMode="auto">
          <a:xfrm flipV="1">
            <a:off x="6623050" y="98583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>
            <p:custDataLst>
              <p:tags r:id="rId5"/>
            </p:custDataLst>
          </p:nvPr>
        </p:nvCxnSpPr>
        <p:spPr bwMode="auto">
          <a:xfrm>
            <a:off x="6623050" y="985838"/>
            <a:ext cx="20288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6"/>
            </p:custDataLst>
          </p:nvPr>
        </p:nvCxnSpPr>
        <p:spPr bwMode="auto">
          <a:xfrm>
            <a:off x="8651875" y="985838"/>
            <a:ext cx="0" cy="21463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73050" y="6108700"/>
            <a:ext cx="5318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EBB2EFE-5C25-498A-801F-FE2186782CBD}" type="datetime'J''a''n''''''''e''''''i''''''''''''''''''r''''''o'''''''''">
              <a:rPr lang="pt-BR" altLang="en-US" sz="1400" smtClean="0"/>
              <a:pPr/>
              <a:t>Janeiro</a:t>
            </a:fld>
            <a:endParaRPr lang="pt-BR" sz="1400" dirty="0"/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208088" y="6108700"/>
            <a:ext cx="688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FC34F0-47EF-40C4-A703-62DFD3D38D4B}" type="datetime'F''''ev''''''''''''''''er''''''''''''''''e''''i''''''r''''o'">
              <a:rPr lang="pt-BR" altLang="en-US" sz="1400" smtClean="0"/>
              <a:pPr/>
              <a:t>Fevereiro</a:t>
            </a:fld>
            <a:endParaRPr lang="pt-BR" sz="1400" dirty="0"/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328863" y="6108700"/>
            <a:ext cx="4762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7179B22-0D19-4CF5-A71C-196E42199CB6}" type="datetime'''''''M''''''''''''''a''''r''''''''''''''''''ço'''''''''''">
              <a:rPr lang="pt-BR" altLang="en-US" sz="1400" smtClean="0"/>
              <a:pPr/>
              <a:t>Março</a:t>
            </a:fld>
            <a:endParaRPr lang="pt-BR" sz="1400" dirty="0"/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405188" y="6108700"/>
            <a:ext cx="3540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0370C6D-EEF9-4055-9777-07BCF1E8487B}" type="datetime'''''''''A''''b''''''''''''''''r''''i''l'''''''''''">
              <a:rPr lang="pt-BR" altLang="en-US" sz="1400" smtClean="0"/>
              <a:pPr/>
              <a:t>Abril</a:t>
            </a:fld>
            <a:endParaRPr lang="pt-BR" sz="1400" dirty="0"/>
          </a:p>
        </p:txBody>
      </p:sp>
      <p:sp>
        <p:nvSpPr>
          <p:cNvPr id="152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403725" y="6108700"/>
            <a:ext cx="3857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049858-7ED9-490C-8E47-3100510EA09B}" type="datetime'''''''''''''''''''''''''''Ma''''i''''''o'''''''''''''">
              <a:rPr lang="pt-BR" altLang="en-US" sz="1400" smtClean="0"/>
              <a:pPr/>
              <a:t>Maio</a:t>
            </a:fld>
            <a:endParaRPr lang="pt-BR" sz="1400" dirty="0"/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387975" y="6108700"/>
            <a:ext cx="444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E6BAA85-6EAF-4C6E-A9BF-E71839C08D1A}" type="datetime'''''''J''u''''''''''''''''''n''''h''''''''''''''''''''o'''">
              <a:rPr lang="pt-BR" altLang="en-US" sz="1400" smtClean="0"/>
              <a:pPr/>
              <a:t>Junho</a:t>
            </a:fld>
            <a:endParaRPr lang="pt-BR" sz="1400" dirty="0"/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427788" y="6108700"/>
            <a:ext cx="3921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8CF42C0-A3F7-4473-B2F4-268AD7A61FC8}" type="datetime'Ju''''''''''''''lh''''''''''''''o'''''''''''''''">
              <a:rPr lang="pt-BR" altLang="en-US" sz="1400" smtClean="0"/>
              <a:pPr/>
              <a:t>Julho</a:t>
            </a:fld>
            <a:endParaRPr lang="pt-BR" sz="1400" dirty="0"/>
          </a:p>
        </p:txBody>
      </p:sp>
      <p:sp>
        <p:nvSpPr>
          <p:cNvPr id="15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381875" y="6108700"/>
            <a:ext cx="5127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748FBCC-1F22-4C5B-AFE7-2712F4C20DB1}" type="datetime'A''g''''''o''''''''''''''''''s''''''''''t''o'''''''''">
              <a:rPr lang="pt-BR" altLang="en-US" sz="1400" smtClean="0"/>
              <a:pPr/>
              <a:t>Agosto</a:t>
            </a:fld>
            <a:endParaRPr lang="pt-BR" sz="1400" dirty="0"/>
          </a:p>
        </p:txBody>
      </p:sp>
      <p:sp>
        <p:nvSpPr>
          <p:cNvPr id="156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294688" y="6108700"/>
            <a:ext cx="7159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B4F4F2-B332-4309-99C5-347826923E53}" type="datetime'''''''''S''''''''''''''''''''''e''t''''e''mbro'''">
              <a:rPr lang="pt-BR" altLang="en-US" sz="1400" smtClean="0"/>
              <a:pPr/>
              <a:t>Setembro</a:t>
            </a:fld>
            <a:endParaRPr lang="pt-BR" sz="1400" dirty="0"/>
          </a:p>
        </p:txBody>
      </p:sp>
      <p:sp>
        <p:nvSpPr>
          <p:cNvPr id="157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355138" y="6108700"/>
            <a:ext cx="6238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38D1FC9-0253-4F5A-B25C-3D1A174E0B0B}" type="datetime'''''''''''''''O''utu''''''''''b''''''''''''''''''r''''o'''">
              <a:rPr lang="pt-BR" altLang="en-US" sz="1400" smtClean="0"/>
              <a:pPr/>
              <a:t>Outubro</a:t>
            </a:fld>
            <a:endParaRPr lang="pt-BR" sz="1400" dirty="0"/>
          </a:p>
        </p:txBody>
      </p:sp>
      <p:sp>
        <p:nvSpPr>
          <p:cNvPr id="158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293350" y="6108700"/>
            <a:ext cx="776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73852D-877B-4BEF-881C-CAFC6B7DF414}" type="datetime'''N''''o''''''''''''v''''''e''m''''b''''r''''o'''''''''''''''">
              <a:rPr lang="pt-BR" altLang="en-US" sz="1400" smtClean="0"/>
              <a:pPr/>
              <a:t>Novembro</a:t>
            </a:fld>
            <a:endParaRPr lang="pt-BR" sz="1400" dirty="0"/>
          </a:p>
        </p:txBody>
      </p:sp>
      <p:sp>
        <p:nvSpPr>
          <p:cNvPr id="15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318875" y="6108700"/>
            <a:ext cx="7524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AA2DC90-262B-45A2-93A8-331185929421}" type="datetime'''D''''''''''''e''''''''ze''''m''''''''''''''b''''''r''''o'">
              <a:rPr lang="pt-BR" altLang="en-US" sz="1400" smtClean="0"/>
              <a:pPr/>
              <a:t>Dezembro</a:t>
            </a:fld>
            <a:endParaRPr lang="pt-BR" sz="1400" dirty="0"/>
          </a:p>
        </p:txBody>
      </p:sp>
      <p:sp>
        <p:nvSpPr>
          <p:cNvPr id="165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378700" y="849313"/>
            <a:ext cx="517525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1EFF5D5-3C4A-4ADF-8A97-594CBAB2678E}" type="datetime'''''''''-''''''''''''''''''3''''5''''''''''''''''''''''%'">
              <a:rPr lang="pt-BR" altLang="en-US" sz="1400" b="1" smtClean="0"/>
              <a:pPr/>
              <a:t>-35%</a:t>
            </a:fld>
            <a:endParaRPr lang="pt-BR" sz="1400" b="1" dirty="0"/>
          </a:p>
        </p:txBody>
      </p:sp>
      <p:sp>
        <p:nvSpPr>
          <p:cNvPr id="235" name="Google Shape;194;p6"/>
          <p:cNvSpPr txBox="1"/>
          <p:nvPr/>
        </p:nvSpPr>
        <p:spPr>
          <a:xfrm>
            <a:off x="0" y="108269"/>
            <a:ext cx="12123880" cy="553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pt-BR" sz="2400" b="1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Queda</a:t>
            </a:r>
            <a:r>
              <a:rPr lang="pt-BR" sz="2400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 de </a:t>
            </a:r>
            <a:r>
              <a:rPr lang="pt-BR" sz="2400" b="1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35%</a:t>
            </a:r>
            <a:r>
              <a:rPr lang="pt-BR" sz="2400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 nos maiores valores registrados entre os meses de </a:t>
            </a:r>
            <a:r>
              <a:rPr lang="pt-BR" sz="2400" b="1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Julho</a:t>
            </a:r>
            <a:r>
              <a:rPr lang="pt-BR" sz="2400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 e </a:t>
            </a:r>
            <a:r>
              <a:rPr lang="pt-BR" sz="2400" b="1" i="0" u="none" strike="noStrike" cap="none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Outubro</a:t>
            </a:r>
            <a:endParaRPr sz="2400" b="1" i="0" u="none" strike="noStrike" cap="none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cxnSp>
        <p:nvCxnSpPr>
          <p:cNvPr id="236" name="Google Shape;195;p6"/>
          <p:cNvCxnSpPr/>
          <p:nvPr/>
        </p:nvCxnSpPr>
        <p:spPr>
          <a:xfrm>
            <a:off x="4762" y="717799"/>
            <a:ext cx="11752119" cy="0"/>
          </a:xfrm>
          <a:prstGeom prst="straightConnector1">
            <a:avLst/>
          </a:prstGeom>
          <a:noFill/>
          <a:ln w="38100" cap="flat" cmpd="sng">
            <a:solidFill>
              <a:srgbClr val="70AD47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7" name="Google Shape;197;p6"/>
          <p:cNvSpPr txBox="1"/>
          <p:nvPr/>
        </p:nvSpPr>
        <p:spPr>
          <a:xfrm>
            <a:off x="0" y="717799"/>
            <a:ext cx="10424964" cy="600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r>
              <a:rPr lang="pt-BR" sz="1600" b="1" i="0" u="none" strike="noStrike" cap="none" dirty="0" smtClean="0">
                <a:solidFill>
                  <a:srgbClr val="000000"/>
                </a:solidFill>
                <a:latin typeface="Hammersmith One"/>
                <a:ea typeface="Hammersmith One"/>
                <a:cs typeface="Hammersmith One"/>
                <a:sym typeface="Hammersmith One"/>
              </a:rPr>
              <a:t>Maiores registrados em cada mês desde 2021</a:t>
            </a:r>
            <a:endParaRPr sz="1600" b="1" i="0" u="none" strike="noStrike" cap="none" dirty="0">
              <a:solidFill>
                <a:srgbClr val="000000"/>
              </a:solidFill>
              <a:latin typeface="Hammersmith One"/>
              <a:ea typeface="Hammersmith One"/>
              <a:cs typeface="Hammersmith One"/>
              <a:sym typeface="Hammersmith One"/>
            </a:endParaRPr>
          </a:p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pt-BR" sz="1100" b="0" i="0" u="none" strike="noStrike" cap="none" dirty="0" smtClean="0">
                <a:solidFill>
                  <a:srgbClr val="666666"/>
                </a:solidFill>
                <a:latin typeface="Montserrat"/>
                <a:ea typeface="Montserrat"/>
                <a:cs typeface="Montserrat"/>
                <a:sym typeface="Montserrat"/>
              </a:rPr>
              <a:t>Em reais</a:t>
            </a:r>
          </a:p>
        </p:txBody>
      </p:sp>
      <p:sp>
        <p:nvSpPr>
          <p:cNvPr id="248" name="Google Shape;206;p7"/>
          <p:cNvSpPr txBox="1"/>
          <p:nvPr/>
        </p:nvSpPr>
        <p:spPr>
          <a:xfrm>
            <a:off x="40713" y="6311264"/>
            <a:ext cx="2358000" cy="33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000" b="0" i="0" u="none" strike="noStrike" cap="none" dirty="0">
                <a:solidFill>
                  <a:srgbClr val="666666"/>
                </a:solidFill>
                <a:latin typeface="Montserrat"/>
                <a:ea typeface="Montserrat"/>
                <a:cs typeface="Montserrat"/>
                <a:sym typeface="Montserrat"/>
              </a:rPr>
              <a:t>Fonte: </a:t>
            </a:r>
            <a:r>
              <a:rPr lang="pt-BR" sz="1000" dirty="0" smtClean="0">
                <a:solidFill>
                  <a:srgbClr val="666666"/>
                </a:solidFill>
                <a:latin typeface="Montserrat"/>
                <a:ea typeface="Montserrat"/>
                <a:cs typeface="Montserrat"/>
                <a:sym typeface="Montserrat"/>
              </a:rPr>
              <a:t>Seasa Bahia</a:t>
            </a:r>
          </a:p>
        </p:txBody>
      </p:sp>
    </p:spTree>
    <p:extLst>
      <p:ext uri="{BB962C8B-B14F-4D97-AF65-F5344CB8AC3E}">
        <p14:creationId xmlns:p14="http://schemas.microsoft.com/office/powerpoint/2010/main" val="4126130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835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9" imgW="425" imgH="424" progId="TCLayout.ActiveDocument.1">
                  <p:embed/>
                </p:oleObj>
              </mc:Choice>
              <mc:Fallback>
                <p:oleObj name="think-cell Slide" r:id="rId9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9" name="Chart 78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13278996"/>
              </p:ext>
            </p:extLst>
          </p:nvPr>
        </p:nvGraphicFramePr>
        <p:xfrm>
          <a:off x="-53975" y="971550"/>
          <a:ext cx="12193588" cy="5500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cxnSp>
        <p:nvCxnSpPr>
          <p:cNvPr id="70" name="Straight Connector 69"/>
          <p:cNvCxnSpPr/>
          <p:nvPr>
            <p:custDataLst>
              <p:tags r:id="rId4"/>
            </p:custDataLst>
          </p:nvPr>
        </p:nvCxnSpPr>
        <p:spPr bwMode="auto">
          <a:xfrm>
            <a:off x="328613" y="3724275"/>
            <a:ext cx="115474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>
            <p:custDataLst>
              <p:tags r:id="rId5"/>
            </p:custDataLst>
          </p:nvPr>
        </p:nvCxnSpPr>
        <p:spPr bwMode="auto">
          <a:xfrm>
            <a:off x="11757025" y="1438275"/>
            <a:ext cx="1190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>
            <p:custDataLst>
              <p:tags r:id="rId6"/>
            </p:custDataLst>
          </p:nvPr>
        </p:nvCxnSpPr>
        <p:spPr bwMode="auto">
          <a:xfrm flipV="1">
            <a:off x="11833225" y="1435100"/>
            <a:ext cx="0" cy="22923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9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1176000" y="2444750"/>
            <a:ext cx="566738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AF3BC64-73F1-4C4D-924D-23FD3887FF0A}" type="datetime'''''''''''''''+''''''''''4''''6''''''''''''''''%'''">
              <a:rPr lang="pt-BR" altLang="en-US" sz="1400" b="1" smtClean="0"/>
              <a:pPr/>
              <a:t>+46%</a:t>
            </a:fld>
            <a:endParaRPr lang="pt-BR" sz="1400" b="1" dirty="0"/>
          </a:p>
        </p:txBody>
      </p:sp>
      <p:sp>
        <p:nvSpPr>
          <p:cNvPr id="17" name="Google Shape;194;p6"/>
          <p:cNvSpPr txBox="1"/>
          <p:nvPr/>
        </p:nvSpPr>
        <p:spPr>
          <a:xfrm>
            <a:off x="0" y="0"/>
            <a:ext cx="12123880" cy="553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pt-BR" sz="2400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Os preços em </a:t>
            </a:r>
            <a:r>
              <a:rPr lang="pt-BR" sz="2400" b="1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Julho</a:t>
            </a:r>
            <a:r>
              <a:rPr lang="pt-BR" sz="2400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 tem forte </a:t>
            </a:r>
            <a:r>
              <a:rPr lang="pt-BR" sz="2400" b="1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tendência</a:t>
            </a:r>
            <a:r>
              <a:rPr lang="pt-BR" sz="2400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 de </a:t>
            </a:r>
            <a:r>
              <a:rPr lang="pt-BR" sz="2400" b="1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crescimento</a:t>
            </a:r>
            <a:r>
              <a:rPr lang="pt-BR" sz="2400" dirty="0" smtClean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 desde 2022</a:t>
            </a:r>
            <a:endParaRPr sz="2400" i="0" u="none" strike="noStrike" cap="none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cxnSp>
        <p:nvCxnSpPr>
          <p:cNvPr id="18" name="Google Shape;195;p6"/>
          <p:cNvCxnSpPr/>
          <p:nvPr/>
        </p:nvCxnSpPr>
        <p:spPr>
          <a:xfrm>
            <a:off x="4762" y="609530"/>
            <a:ext cx="11752119" cy="0"/>
          </a:xfrm>
          <a:prstGeom prst="straightConnector1">
            <a:avLst/>
          </a:prstGeom>
          <a:noFill/>
          <a:ln w="38100" cap="flat" cmpd="sng">
            <a:solidFill>
              <a:srgbClr val="70AD47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9" name="Google Shape;197;p6"/>
          <p:cNvSpPr txBox="1"/>
          <p:nvPr/>
        </p:nvSpPr>
        <p:spPr>
          <a:xfrm>
            <a:off x="0" y="609530"/>
            <a:ext cx="10424964" cy="600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lvl="0" algn="just">
              <a:buClr>
                <a:srgbClr val="000000"/>
              </a:buClr>
              <a:buSzPts val="1400"/>
            </a:pPr>
            <a:r>
              <a:rPr lang="pt-BR" sz="1600" b="1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Média de preços no mês de julho por ano</a:t>
            </a:r>
          </a:p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pt-BR" sz="1100" b="0" i="0" u="none" strike="noStrike" cap="none" dirty="0" smtClean="0">
                <a:solidFill>
                  <a:srgbClr val="666666"/>
                </a:solidFill>
                <a:latin typeface="Montserrat"/>
                <a:ea typeface="Montserrat"/>
                <a:cs typeface="Montserrat"/>
                <a:sym typeface="Montserrat"/>
              </a:rPr>
              <a:t>Em </a:t>
            </a:r>
            <a:r>
              <a:rPr lang="pt-BR" sz="1100" b="0" i="0" u="none" strike="noStrike" cap="none" dirty="0" smtClean="0">
                <a:solidFill>
                  <a:srgbClr val="666666"/>
                </a:solidFill>
                <a:latin typeface="Montserrat"/>
                <a:ea typeface="Montserrat"/>
                <a:cs typeface="Montserrat"/>
                <a:sym typeface="Montserrat"/>
              </a:rPr>
              <a:t>reais</a:t>
            </a:r>
          </a:p>
        </p:txBody>
      </p:sp>
      <p:sp>
        <p:nvSpPr>
          <p:cNvPr id="53" name="Google Shape;206;p7"/>
          <p:cNvSpPr txBox="1"/>
          <p:nvPr/>
        </p:nvSpPr>
        <p:spPr>
          <a:xfrm>
            <a:off x="0" y="6368964"/>
            <a:ext cx="2358000" cy="33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pt-BR" sz="1000" b="0" i="0" u="none" strike="noStrike" cap="none" dirty="0">
                <a:solidFill>
                  <a:srgbClr val="666666"/>
                </a:solidFill>
                <a:latin typeface="Montserrat"/>
                <a:ea typeface="Montserrat"/>
                <a:cs typeface="Montserrat"/>
                <a:sym typeface="Montserrat"/>
              </a:rPr>
              <a:t>Fonte: </a:t>
            </a:r>
            <a:r>
              <a:rPr lang="pt-BR" sz="1000" dirty="0" smtClean="0">
                <a:solidFill>
                  <a:srgbClr val="666666"/>
                </a:solidFill>
                <a:latin typeface="Montserrat"/>
                <a:ea typeface="Montserrat"/>
                <a:cs typeface="Montserrat"/>
                <a:sym typeface="Montserrat"/>
              </a:rPr>
              <a:t>Seasa Bahia</a:t>
            </a:r>
          </a:p>
        </p:txBody>
      </p:sp>
    </p:spTree>
    <p:extLst>
      <p:ext uri="{BB962C8B-B14F-4D97-AF65-F5344CB8AC3E}">
        <p14:creationId xmlns:p14="http://schemas.microsoft.com/office/powerpoint/2010/main" val="989666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54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53899999999999992362E+00&quot;&gt;&lt;m_msothmcolidx val=&quot;0&quot;/&gt;&lt;m_rgb r=&quot;FA&quot; g=&quot;D4&quot; b=&quot;19&quot;/&gt;&lt;/elem&gt;&lt;elem m_fUsage=&quot;1.00000000000000000000E+00&quot;&gt;&lt;m_msothmcolidx val=&quot;0&quot;/&gt;&lt;m_rgb r=&quot;65&quot; g=&quot;56&quot; b=&quot;1E&quot;/&gt;&lt;/elem&gt;&lt;elem m_fUsage=&quot;9.00000000000000022204E-01&quot;&gt;&lt;m_msothmcolidx val=&quot;0&quot;/&gt;&lt;m_rgb r=&quot;FF&quot; g=&quot;E0&quot; b=&quot;6D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9Q2lQ2_7xsNR8m2SNi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IJcg3jo.x1MQhXZ1vls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GHV9Sc_9aXKYZs5MRN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4vW7kPQPEbsY1xtD5d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3vI.x_.fToNi6NRvSYk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l8aXDDwJz_Skuw2DgJw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NwWr7Ok3mnJgBz_Si83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hErYfkZdfOOlXQdUXJF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Z3Vfg1VUn51GLoJFFz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A0n4EmkCMGkO7HPGA.5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EGzwyKqac3Q6rWiS1F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ZPpY8vm1QB0tYlDect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9CrQFNntD.S.PwpNesU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GGecSGPyafN9QGFCLq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cMXdq7zQIHzK4GfHiQ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Y4Il1fNJBzvYuTPqrwd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9MWJiB_OnehjJEgKlJT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6Yq4T6e.yLrZeJHgGjt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4.B8fSO.7jt7lpP7Y_3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H_dHg2rIbI_E7BHUFH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YZUO60B8R2.69vcWNBX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HvAJx3oodSKfBgr2WNP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3cjS3b48u.31u9Qmwy5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63NMJI.0RmiqDGNfQA.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.2r9cgQCeOYTMVGJX8F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CS7O5geqZ_9udIIdJ6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fGvkER7yg2nTS1MIkrb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snFtMtfmZeAoN0FYDB4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Wla6MSS6lVFOdpaB1g0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63NMJI.0RmiqDGNfQA.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9Q2lQ2_7xsNR8m2SNiB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IJcg3jo.x1MQhXZ1vls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GHV9Sc_9aXKYZs5MRNM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4vW7kPQPEbsY1xtD5dV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3vI.x_.fToNi6NRvSYk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l8aXDDwJz_Skuw2DgJw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NwWr7Ok3mnJgBz_Si83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hErYfkZdfOOlXQdUXJ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Z3Vfg1VUn51GLoJFFza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A0n4EmkCMGkO7HPGA.5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BjT1ACZoV5uis5JkqCn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2i6dh8TmgfEP1JrgmCu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aEDcjv2KL.xbxJUOSnx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geznkfc8pZJrOIqy7BX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fx6FDT0F6k0N_Z9pbEx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_fDAR6PC9AvAPnAO9K0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Trlsjq1Pq.hp2_4bhq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2F_mnmFuKy0EYn4LH_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3iP7iJI26GXqQ1_Xw0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snFtMtfmZeAoN0FYDB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Wla6MSS6lVFOdpaB1g0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1</TotalTime>
  <Words>134</Words>
  <Application>Microsoft Office PowerPoint</Application>
  <PresentationFormat>Widescreen</PresentationFormat>
  <Paragraphs>66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rial</vt:lpstr>
      <vt:lpstr>Calibri</vt:lpstr>
      <vt:lpstr>Calibri Light</vt:lpstr>
      <vt:lpstr>Hammersmith One</vt:lpstr>
      <vt:lpstr>Montserrat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account</dc:creator>
  <cp:lastModifiedBy>Microsoft account</cp:lastModifiedBy>
  <cp:revision>7</cp:revision>
  <dcterms:created xsi:type="dcterms:W3CDTF">2024-09-03T19:20:31Z</dcterms:created>
  <dcterms:modified xsi:type="dcterms:W3CDTF">2024-09-03T22:32:11Z</dcterms:modified>
</cp:coreProperties>
</file>